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7728" r:id="rId2"/>
    <p:sldId id="9817" r:id="rId3"/>
    <p:sldId id="9830" r:id="rId4"/>
    <p:sldId id="9831" r:id="rId5"/>
    <p:sldId id="9816" r:id="rId6"/>
    <p:sldId id="9821" r:id="rId7"/>
    <p:sldId id="9825" r:id="rId8"/>
    <p:sldId id="9823" r:id="rId9"/>
    <p:sldId id="9832" r:id="rId10"/>
    <p:sldId id="9827" r:id="rId11"/>
    <p:sldId id="9829" r:id="rId12"/>
    <p:sldId id="9822" r:id="rId13"/>
  </p:sldIdLst>
  <p:sldSz cx="10693400" cy="7561263"/>
  <p:notesSz cx="7104063" cy="10234613"/>
  <p:embeddedFontLst>
    <p:embeddedFont>
      <p:font typeface="Avenir Next LT Pro" panose="020B0504020202020204" pitchFamily="34" charset="77"/>
      <p:regular r:id="rId16"/>
      <p:bold r:id="rId17"/>
      <p:italic r:id="rId18"/>
      <p:boldItalic r:id="rId19"/>
    </p:embeddedFont>
    <p:embeddedFont>
      <p:font typeface="Roboto" panose="02000000000000000000" pitchFamily="2" charset="0"/>
      <p:regular r:id="rId20"/>
      <p:bold r:id="rId21"/>
      <p:italic r:id="rId22"/>
      <p:boldItalic r:id="rId23"/>
    </p:embeddedFont>
    <p:embeddedFont>
      <p:font typeface="Roboto Mono" pitchFamily="49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8BAFA5-4643-4A51-9C03-BEEE08B06F38}" v="15" dt="2024-11-20T15:18:59.4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684" autoAdjust="0"/>
    <p:restoredTop sz="96171" autoAdjust="0"/>
  </p:normalViewPr>
  <p:slideViewPr>
    <p:cSldViewPr showGuides="1">
      <p:cViewPr varScale="1">
        <p:scale>
          <a:sx n="121" d="100"/>
          <a:sy n="121" d="100"/>
        </p:scale>
        <p:origin x="192" y="640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</p:sldLst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8.xml"/><Relationship Id="rId3" Type="http://schemas.openxmlformats.org/officeDocument/2006/relationships/slide" Target="slides/slide3.xml"/><Relationship Id="rId7" Type="http://schemas.openxmlformats.org/officeDocument/2006/relationships/slide" Target="slides/slide7.xml"/><Relationship Id="rId12" Type="http://schemas.openxmlformats.org/officeDocument/2006/relationships/slide" Target="slides/slide12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6.xml"/><Relationship Id="rId11" Type="http://schemas.openxmlformats.org/officeDocument/2006/relationships/slide" Target="slides/slide11.xml"/><Relationship Id="rId5" Type="http://schemas.openxmlformats.org/officeDocument/2006/relationships/slide" Target="slides/slide5.xml"/><Relationship Id="rId10" Type="http://schemas.openxmlformats.org/officeDocument/2006/relationships/slide" Target="slides/slide10.xml"/><Relationship Id="rId4" Type="http://schemas.openxmlformats.org/officeDocument/2006/relationships/slide" Target="slides/slide4.xml"/><Relationship Id="rId9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Høgenhaug" userId="5f239db8-0158-4fa1-a859-fc1b00175be2" providerId="ADAL" clId="{328BAFA5-4643-4A51-9C03-BEEE08B06F38}"/>
    <pc:docChg chg="undo custSel addSld modSld sldOrd">
      <pc:chgData name="Pierre Høgenhaug" userId="5f239db8-0158-4fa1-a859-fc1b00175be2" providerId="ADAL" clId="{328BAFA5-4643-4A51-9C03-BEEE08B06F38}" dt="2024-11-20T15:23:36.598" v="892" actId="5793"/>
      <pc:docMkLst>
        <pc:docMk/>
      </pc:docMkLst>
      <pc:sldChg chg="modSp mod">
        <pc:chgData name="Pierre Høgenhaug" userId="5f239db8-0158-4fa1-a859-fc1b00175be2" providerId="ADAL" clId="{328BAFA5-4643-4A51-9C03-BEEE08B06F38}" dt="2024-11-20T09:24:52.043" v="97" actId="20577"/>
        <pc:sldMkLst>
          <pc:docMk/>
          <pc:sldMk cId="1296903930" sldId="7728"/>
        </pc:sldMkLst>
        <pc:spChg chg="mod">
          <ac:chgData name="Pierre Høgenhaug" userId="5f239db8-0158-4fa1-a859-fc1b00175be2" providerId="ADAL" clId="{328BAFA5-4643-4A51-9C03-BEEE08B06F38}" dt="2024-11-20T09:24:52.043" v="97" actId="20577"/>
          <ac:spMkLst>
            <pc:docMk/>
            <pc:sldMk cId="1296903930" sldId="7728"/>
            <ac:spMk id="5" creationId="{AC337A46-B614-4DB8-8714-683A1C1A1F4D}"/>
          </ac:spMkLst>
        </pc:spChg>
      </pc:sldChg>
      <pc:sldChg chg="modSp mod">
        <pc:chgData name="Pierre Høgenhaug" userId="5f239db8-0158-4fa1-a859-fc1b00175be2" providerId="ADAL" clId="{328BAFA5-4643-4A51-9C03-BEEE08B06F38}" dt="2024-11-20T09:30:52.100" v="284" actId="6549"/>
        <pc:sldMkLst>
          <pc:docMk/>
          <pc:sldMk cId="2829988918" sldId="9817"/>
        </pc:sldMkLst>
        <pc:spChg chg="mod">
          <ac:chgData name="Pierre Høgenhaug" userId="5f239db8-0158-4fa1-a859-fc1b00175be2" providerId="ADAL" clId="{328BAFA5-4643-4A51-9C03-BEEE08B06F38}" dt="2024-11-20T09:30:52.100" v="284" actId="6549"/>
          <ac:spMkLst>
            <pc:docMk/>
            <pc:sldMk cId="2829988918" sldId="9817"/>
            <ac:spMk id="3" creationId="{58876130-2276-9B27-A7DD-26EC958EB22B}"/>
          </ac:spMkLst>
        </pc:spChg>
      </pc:sldChg>
      <pc:sldChg chg="modSp mod">
        <pc:chgData name="Pierre Høgenhaug" userId="5f239db8-0158-4fa1-a859-fc1b00175be2" providerId="ADAL" clId="{328BAFA5-4643-4A51-9C03-BEEE08B06F38}" dt="2024-11-20T10:28:46.534" v="670" actId="20577"/>
        <pc:sldMkLst>
          <pc:docMk/>
          <pc:sldMk cId="1561223794" sldId="9820"/>
        </pc:sldMkLst>
        <pc:spChg chg="mod">
          <ac:chgData name="Pierre Høgenhaug" userId="5f239db8-0158-4fa1-a859-fc1b00175be2" providerId="ADAL" clId="{328BAFA5-4643-4A51-9C03-BEEE08B06F38}" dt="2024-11-20T10:28:46.534" v="670" actId="20577"/>
          <ac:spMkLst>
            <pc:docMk/>
            <pc:sldMk cId="1561223794" sldId="9820"/>
            <ac:spMk id="6" creationId="{79F7CBB1-0E9C-65D5-D2A7-986579C52A90}"/>
          </ac:spMkLst>
        </pc:spChg>
        <pc:picChg chg="mod">
          <ac:chgData name="Pierre Høgenhaug" userId="5f239db8-0158-4fa1-a859-fc1b00175be2" providerId="ADAL" clId="{328BAFA5-4643-4A51-9C03-BEEE08B06F38}" dt="2024-11-20T10:27:09.421" v="554" actId="1076"/>
          <ac:picMkLst>
            <pc:docMk/>
            <pc:sldMk cId="1561223794" sldId="9820"/>
            <ac:picMk id="9" creationId="{9805B0EA-EC17-C98E-370A-4DFA0C5F41E1}"/>
          </ac:picMkLst>
        </pc:picChg>
      </pc:sldChg>
      <pc:sldChg chg="modSp mod">
        <pc:chgData name="Pierre Høgenhaug" userId="5f239db8-0158-4fa1-a859-fc1b00175be2" providerId="ADAL" clId="{328BAFA5-4643-4A51-9C03-BEEE08B06F38}" dt="2024-11-20T15:23:36.598" v="892" actId="5793"/>
        <pc:sldMkLst>
          <pc:docMk/>
          <pc:sldMk cId="2830548496" sldId="9821"/>
        </pc:sldMkLst>
        <pc:spChg chg="mod">
          <ac:chgData name="Pierre Høgenhaug" userId="5f239db8-0158-4fa1-a859-fc1b00175be2" providerId="ADAL" clId="{328BAFA5-4643-4A51-9C03-BEEE08B06F38}" dt="2024-11-20T09:30:19.407" v="259" actId="20577"/>
          <ac:spMkLst>
            <pc:docMk/>
            <pc:sldMk cId="2830548496" sldId="9821"/>
            <ac:spMk id="2" creationId="{188F84AA-CE8F-C7CF-8D46-BB8BB066CCCA}"/>
          </ac:spMkLst>
        </pc:spChg>
        <pc:spChg chg="mod">
          <ac:chgData name="Pierre Høgenhaug" userId="5f239db8-0158-4fa1-a859-fc1b00175be2" providerId="ADAL" clId="{328BAFA5-4643-4A51-9C03-BEEE08B06F38}" dt="2024-11-20T15:23:36.598" v="892" actId="5793"/>
          <ac:spMkLst>
            <pc:docMk/>
            <pc:sldMk cId="2830548496" sldId="9821"/>
            <ac:spMk id="19" creationId="{8F2EC1D3-E8FB-69E9-EF89-D841C355B54F}"/>
          </ac:spMkLst>
        </pc:spChg>
      </pc:sldChg>
      <pc:sldChg chg="modSp mod">
        <pc:chgData name="Pierre Høgenhaug" userId="5f239db8-0158-4fa1-a859-fc1b00175be2" providerId="ADAL" clId="{328BAFA5-4643-4A51-9C03-BEEE08B06F38}" dt="2024-11-20T15:21:29.229" v="886" actId="20577"/>
        <pc:sldMkLst>
          <pc:docMk/>
          <pc:sldMk cId="2573527940" sldId="9822"/>
        </pc:sldMkLst>
        <pc:spChg chg="mod">
          <ac:chgData name="Pierre Høgenhaug" userId="5f239db8-0158-4fa1-a859-fc1b00175be2" providerId="ADAL" clId="{328BAFA5-4643-4A51-9C03-BEEE08B06F38}" dt="2024-11-20T15:20:06.324" v="760" actId="20577"/>
          <ac:spMkLst>
            <pc:docMk/>
            <pc:sldMk cId="2573527940" sldId="9822"/>
            <ac:spMk id="2" creationId="{63FA2A1F-ECBA-994F-2266-CCA29E8E477E}"/>
          </ac:spMkLst>
        </pc:spChg>
        <pc:spChg chg="mod">
          <ac:chgData name="Pierre Høgenhaug" userId="5f239db8-0158-4fa1-a859-fc1b00175be2" providerId="ADAL" clId="{328BAFA5-4643-4A51-9C03-BEEE08B06F38}" dt="2024-11-20T15:21:29.229" v="886" actId="20577"/>
          <ac:spMkLst>
            <pc:docMk/>
            <pc:sldMk cId="2573527940" sldId="9822"/>
            <ac:spMk id="19" creationId="{AACFD40D-444F-4894-2E8D-129F1F6C2B65}"/>
          </ac:spMkLst>
        </pc:spChg>
      </pc:sldChg>
      <pc:sldChg chg="modSp mod">
        <pc:chgData name="Pierre Høgenhaug" userId="5f239db8-0158-4fa1-a859-fc1b00175be2" providerId="ADAL" clId="{328BAFA5-4643-4A51-9C03-BEEE08B06F38}" dt="2024-11-20T09:29:34.727" v="218" actId="20577"/>
        <pc:sldMkLst>
          <pc:docMk/>
          <pc:sldMk cId="1640273481" sldId="9823"/>
        </pc:sldMkLst>
        <pc:spChg chg="mod">
          <ac:chgData name="Pierre Høgenhaug" userId="5f239db8-0158-4fa1-a859-fc1b00175be2" providerId="ADAL" clId="{328BAFA5-4643-4A51-9C03-BEEE08B06F38}" dt="2024-11-20T09:29:34.727" v="218" actId="20577"/>
          <ac:spMkLst>
            <pc:docMk/>
            <pc:sldMk cId="1640273481" sldId="9823"/>
            <ac:spMk id="2" creationId="{5A272E6E-CB83-9B89-0D65-BAFF4B9FAFAD}"/>
          </ac:spMkLst>
        </pc:spChg>
      </pc:sldChg>
      <pc:sldChg chg="modSp mod">
        <pc:chgData name="Pierre Høgenhaug" userId="5f239db8-0158-4fa1-a859-fc1b00175be2" providerId="ADAL" clId="{328BAFA5-4643-4A51-9C03-BEEE08B06F38}" dt="2024-11-20T15:23:23.568" v="887" actId="21"/>
        <pc:sldMkLst>
          <pc:docMk/>
          <pc:sldMk cId="229663654" sldId="9825"/>
        </pc:sldMkLst>
        <pc:spChg chg="mod">
          <ac:chgData name="Pierre Høgenhaug" userId="5f239db8-0158-4fa1-a859-fc1b00175be2" providerId="ADAL" clId="{328BAFA5-4643-4A51-9C03-BEEE08B06F38}" dt="2024-11-20T09:29:13.084" v="173" actId="20577"/>
          <ac:spMkLst>
            <pc:docMk/>
            <pc:sldMk cId="229663654" sldId="9825"/>
            <ac:spMk id="2" creationId="{473ED1FB-AB2C-1FF8-832A-CAB472DB423C}"/>
          </ac:spMkLst>
        </pc:spChg>
        <pc:spChg chg="mod">
          <ac:chgData name="Pierre Høgenhaug" userId="5f239db8-0158-4fa1-a859-fc1b00175be2" providerId="ADAL" clId="{328BAFA5-4643-4A51-9C03-BEEE08B06F38}" dt="2024-11-20T15:23:23.568" v="887" actId="21"/>
          <ac:spMkLst>
            <pc:docMk/>
            <pc:sldMk cId="229663654" sldId="9825"/>
            <ac:spMk id="19" creationId="{366E3853-A258-E70B-6ECF-ECADF70A9708}"/>
          </ac:spMkLst>
        </pc:spChg>
      </pc:sldChg>
      <pc:sldChg chg="addSp delSp modSp new mod ord">
        <pc:chgData name="Pierre Høgenhaug" userId="5f239db8-0158-4fa1-a859-fc1b00175be2" providerId="ADAL" clId="{328BAFA5-4643-4A51-9C03-BEEE08B06F38}" dt="2024-11-20T09:24:34.074" v="92" actId="1076"/>
        <pc:sldMkLst>
          <pc:docMk/>
          <pc:sldMk cId="3966222892" sldId="9826"/>
        </pc:sldMkLst>
        <pc:spChg chg="del">
          <ac:chgData name="Pierre Høgenhaug" userId="5f239db8-0158-4fa1-a859-fc1b00175be2" providerId="ADAL" clId="{328BAFA5-4643-4A51-9C03-BEEE08B06F38}" dt="2024-11-20T09:21:56.828" v="57" actId="478"/>
          <ac:spMkLst>
            <pc:docMk/>
            <pc:sldMk cId="3966222892" sldId="9826"/>
            <ac:spMk id="2" creationId="{5ADCB886-37E5-BE0D-C4A8-D6C542C835E7}"/>
          </ac:spMkLst>
        </pc:spChg>
        <pc:spChg chg="mod">
          <ac:chgData name="Pierre Høgenhaug" userId="5f239db8-0158-4fa1-a859-fc1b00175be2" providerId="ADAL" clId="{328BAFA5-4643-4A51-9C03-BEEE08B06F38}" dt="2024-11-20T09:20:51.861" v="37" actId="20577"/>
          <ac:spMkLst>
            <pc:docMk/>
            <pc:sldMk cId="3966222892" sldId="9826"/>
            <ac:spMk id="4" creationId="{1AB677AB-C73A-EC3B-2F8F-41E4A64F3A26}"/>
          </ac:spMkLst>
        </pc:spChg>
        <pc:spChg chg="del">
          <ac:chgData name="Pierre Høgenhaug" userId="5f239db8-0158-4fa1-a859-fc1b00175be2" providerId="ADAL" clId="{328BAFA5-4643-4A51-9C03-BEEE08B06F38}" dt="2024-11-20T09:21:35.056" v="49" actId="478"/>
          <ac:spMkLst>
            <pc:docMk/>
            <pc:sldMk cId="3966222892" sldId="9826"/>
            <ac:spMk id="6" creationId="{6D257460-AB09-04D2-8CF4-6F429E5C203C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8" creationId="{DF5B5094-322C-F237-83FE-B46335FE6D4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9" creationId="{AFDA3532-04A2-3531-E5E5-91F0726FE03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10" creationId="{9EA0A5E9-F456-8276-2C5F-29D3187F8D92}"/>
          </ac:spMkLst>
        </pc:spChg>
        <pc:spChg chg="add mod">
          <ac:chgData name="Pierre Høgenhaug" userId="5f239db8-0158-4fa1-a859-fc1b00175be2" providerId="ADAL" clId="{328BAFA5-4643-4A51-9C03-BEEE08B06F38}" dt="2024-11-20T09:23:22.890" v="84" actId="20577"/>
          <ac:spMkLst>
            <pc:docMk/>
            <pc:sldMk cId="3966222892" sldId="9826"/>
            <ac:spMk id="11" creationId="{05C9A5C7-7CD0-BCBD-F7AB-E4C3E53764F0}"/>
          </ac:spMkLst>
        </pc:spChg>
        <pc:spChg chg="add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2" creationId="{C7BE14F1-0F1A-B664-ED79-64E596815B1B}"/>
          </ac:spMkLst>
        </pc:spChg>
        <pc:spChg chg="add del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3" creationId="{E3E7395F-467E-AC9E-A4E5-17EE7C89696F}"/>
          </ac:spMkLst>
        </pc:spChg>
        <pc:spChg chg="add mod">
          <ac:chgData name="Pierre Høgenhaug" userId="5f239db8-0158-4fa1-a859-fc1b00175be2" providerId="ADAL" clId="{328BAFA5-4643-4A51-9C03-BEEE08B06F38}" dt="2024-11-20T09:24:34.074" v="92" actId="1076"/>
          <ac:spMkLst>
            <pc:docMk/>
            <pc:sldMk cId="3966222892" sldId="9826"/>
            <ac:spMk id="15" creationId="{C5DDA794-89F7-7722-6F3B-482B026EAA5C}"/>
          </ac:spMkLst>
        </pc:spChg>
        <pc:picChg chg="add mod">
          <ac:chgData name="Pierre Høgenhaug" userId="5f239db8-0158-4fa1-a859-fc1b00175be2" providerId="ADAL" clId="{328BAFA5-4643-4A51-9C03-BEEE08B06F38}" dt="2024-11-20T09:24:02.895" v="88" actId="1076"/>
          <ac:picMkLst>
            <pc:docMk/>
            <pc:sldMk cId="3966222892" sldId="9826"/>
            <ac:picMk id="7" creationId="{D7B5BA27-D622-5311-DC78-761578DC0DF5}"/>
          </ac:picMkLst>
        </pc:picChg>
      </pc:sldChg>
      <pc:sldChg chg="delSp modSp add mod">
        <pc:chgData name="Pierre Høgenhaug" userId="5f239db8-0158-4fa1-a859-fc1b00175be2" providerId="ADAL" clId="{328BAFA5-4643-4A51-9C03-BEEE08B06F38}" dt="2024-11-20T09:33:26.028" v="520"/>
        <pc:sldMkLst>
          <pc:docMk/>
          <pc:sldMk cId="1962498448" sldId="9827"/>
        </pc:sldMkLst>
        <pc:spChg chg="mod">
          <ac:chgData name="Pierre Høgenhaug" userId="5f239db8-0158-4fa1-a859-fc1b00175be2" providerId="ADAL" clId="{328BAFA5-4643-4A51-9C03-BEEE08B06F38}" dt="2024-11-20T09:31:04.553" v="298" actId="20577"/>
          <ac:spMkLst>
            <pc:docMk/>
            <pc:sldMk cId="1962498448" sldId="9827"/>
            <ac:spMk id="2" creationId="{5A272E6E-CB83-9B89-0D65-BAFF4B9FAFAD}"/>
          </ac:spMkLst>
        </pc:spChg>
        <pc:spChg chg="del">
          <ac:chgData name="Pierre Høgenhaug" userId="5f239db8-0158-4fa1-a859-fc1b00175be2" providerId="ADAL" clId="{328BAFA5-4643-4A51-9C03-BEEE08B06F38}" dt="2024-11-20T09:31:11.166" v="301" actId="478"/>
          <ac:spMkLst>
            <pc:docMk/>
            <pc:sldMk cId="1962498448" sldId="9827"/>
            <ac:spMk id="3" creationId="{2BE692DF-3E13-DC4D-2196-3FEDC2E62245}"/>
          </ac:spMkLst>
        </pc:spChg>
        <pc:spChg chg="mod">
          <ac:chgData name="Pierre Høgenhaug" userId="5f239db8-0158-4fa1-a859-fc1b00175be2" providerId="ADAL" clId="{328BAFA5-4643-4A51-9C03-BEEE08B06F38}" dt="2024-11-20T09:33:26.028" v="520"/>
          <ac:spMkLst>
            <pc:docMk/>
            <pc:sldMk cId="1962498448" sldId="9827"/>
            <ac:spMk id="19" creationId="{EA98FA14-2AD8-B40C-848F-681D68C43659}"/>
          </ac:spMkLst>
        </pc:spChg>
        <pc:picChg chg="del">
          <ac:chgData name="Pierre Høgenhaug" userId="5f239db8-0158-4fa1-a859-fc1b00175be2" providerId="ADAL" clId="{328BAFA5-4643-4A51-9C03-BEEE08B06F38}" dt="2024-11-20T09:31:08.795" v="299" actId="478"/>
          <ac:picMkLst>
            <pc:docMk/>
            <pc:sldMk cId="1962498448" sldId="9827"/>
            <ac:picMk id="5" creationId="{95CFE490-7D39-8F1A-C0F0-ED448094755A}"/>
          </ac:picMkLst>
        </pc:picChg>
        <pc:picChg chg="del">
          <ac:chgData name="Pierre Høgenhaug" userId="5f239db8-0158-4fa1-a859-fc1b00175be2" providerId="ADAL" clId="{328BAFA5-4643-4A51-9C03-BEEE08B06F38}" dt="2024-11-20T09:31:09.031" v="300" actId="478"/>
          <ac:picMkLst>
            <pc:docMk/>
            <pc:sldMk cId="1962498448" sldId="9827"/>
            <ac:picMk id="7" creationId="{FB1F9600-928F-9062-0787-642DB498FE53}"/>
          </ac:picMkLst>
        </pc:picChg>
      </pc:sldChg>
      <pc:sldChg chg="addSp delSp modSp new mod">
        <pc:chgData name="Pierre Høgenhaug" userId="5f239db8-0158-4fa1-a859-fc1b00175be2" providerId="ADAL" clId="{328BAFA5-4643-4A51-9C03-BEEE08B06F38}" dt="2024-11-20T10:32:35.949" v="673"/>
        <pc:sldMkLst>
          <pc:docMk/>
          <pc:sldMk cId="1753498188" sldId="9828"/>
        </pc:sldMkLst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2" creationId="{A1684C62-DD42-96B4-D44E-0E6EF4FB9FAD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3" creationId="{798DA084-BD8B-AD5E-E2DF-F40DD818E5D7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4" creationId="{2C3BE81D-DAD1-55CA-07AD-01245A68A51E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5" creationId="{CAE12DA1-CF22-1BA1-7833-9CD7C7B92016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6" creationId="{EF0445AC-8E08-88FC-BD49-35AF48F3A97E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7" creationId="{E2972773-C5D8-CB6B-7C42-7D7F7C9F55B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8" creationId="{E06BDC6C-27BD-C205-9004-FDB3A5A82BC0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9" creationId="{E170421C-E967-B81E-F078-B2E512700B6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0" creationId="{CE368DDD-597F-4076-5E7B-A63453421582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1" creationId="{43BE52E8-C01C-1496-A4F1-D48A04FFFEA9}"/>
          </ac:spMkLst>
        </pc:spChg>
        <pc:picChg chg="add mod">
          <ac:chgData name="Pierre Høgenhaug" userId="5f239db8-0158-4fa1-a859-fc1b00175be2" providerId="ADAL" clId="{328BAFA5-4643-4A51-9C03-BEEE08B06F38}" dt="2024-11-20T10:32:35.949" v="673"/>
          <ac:picMkLst>
            <pc:docMk/>
            <pc:sldMk cId="1753498188" sldId="9828"/>
            <ac:picMk id="12" creationId="{976E078B-594E-3CD0-4A49-82FC52EBF381}"/>
          </ac:picMkLst>
        </pc:picChg>
      </pc:sldChg>
      <pc:sldChg chg="add ord">
        <pc:chgData name="Pierre Høgenhaug" userId="5f239db8-0158-4fa1-a859-fc1b00175be2" providerId="ADAL" clId="{328BAFA5-4643-4A51-9C03-BEEE08B06F38}" dt="2024-11-20T15:19:00.799" v="676"/>
        <pc:sldMkLst>
          <pc:docMk/>
          <pc:sldMk cId="1610390231" sldId="98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06AB6CCA-D06D-4BA5-9639-94B1582DB0D0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CFB4E7EA-0364-46D8-B4EC-CAC35BF3F46E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206A4-490B-DB8A-78CF-3D498B9AE6A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BB987DE-1AEF-4BE6-B719-FB09DF7D95B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FBCB1D-C2E5-79A6-AE97-E30D5164435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825CCB9-332B-424D-A22A-6B25956D5CA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9932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1393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929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4ED471-46F3-92B8-686C-448B6007148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A3BDACB-52F9-4FB3-A8A6-E62AE9AFBB4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45915-CEE5-9176-137E-857B7AB6B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6F9BE4-70A6-5F17-4782-5D2A34789D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3BB741-98D3-17D8-49AF-6768FA651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C728D02-AFB2-94CA-BF6E-562616F59E4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959CA-5C09-8901-8BEA-4547963B25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1A597A-111A-A2B2-2570-40412BD058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6BC07B-BE93-A2A6-DC85-DD1D7FEFB42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113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3580D-36BA-89EA-86E3-96377BBED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259E-1A3A-D123-1BD1-C857CB419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3D9C87-7F03-E0F3-EAE9-B2D86D6C0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5084B69-5522-DF24-47E1-5B81589F295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E51289-6F7F-5C42-9B1E-DAF6228ACFC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4FE94-26D0-646C-7F90-5EAF176081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5D25FA-158A-B029-E767-82A2F06B7D3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327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C0DD9-0EED-3894-30F1-F4EA1C0CF9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E7C52B-BEDC-F8EA-B1D3-43AFD49C88F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74FD8-F697-4FF5-8278-B34C32195BAC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F973F8-08AE-0D12-E953-BED926CE71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E7DF219-5064-40CC-9341-0ED2C0ED3801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DD6544-1BAC-E5B2-3D56-5759D5AF0CB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372EC-D131-0831-E984-AE0394AF8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B9CADF-A966-0315-FC94-8299FFB71D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DDC19C-51D9-BC72-8FDD-36F47B1684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7CAEB16-C878-88A4-52DF-ADCD5879872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36C80D-8E16-DA3B-07DC-0F6C174D27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B0A305-D6A0-9F64-59A5-D9E61632A6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4DB8A8-5507-F31C-C9B0-9602552DC53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148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" Target="slide4.xml"/><Relationship Id="rId7" Type="http://schemas.openxmlformats.org/officeDocument/2006/relationships/slide" Target="slide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ar5iv.labs.arxiv.org/html/2310.14122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Intro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Nov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The Practica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8315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The Mod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ocally, I’ve run these models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ant to test the following models: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 err="1"/>
              <a:t>Ollama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ould easily use </a:t>
            </a:r>
            <a:r>
              <a:rPr lang="en-GB" sz="1000" dirty="0" err="1"/>
              <a:t>HuggingFace</a:t>
            </a:r>
            <a:r>
              <a:rPr lang="en-GB" sz="1000" dirty="0"/>
              <a:t> directly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Locally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run part of this locally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on DTU HPC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code runs using Bash Script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Running on Cloud</a:t>
            </a:r>
          </a:p>
        </p:txBody>
      </p:sp>
    </p:spTree>
    <p:extLst>
      <p:ext uri="{BB962C8B-B14F-4D97-AF65-F5344CB8AC3E}">
        <p14:creationId xmlns:p14="http://schemas.microsoft.com/office/powerpoint/2010/main" val="1962498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y Next Step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44319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Extraction / Scrap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For all portfolio names that have C4 analyst score, extract PDF prospectuses from SharePoint (</a:t>
            </a:r>
            <a:r>
              <a:rPr lang="en-GB" sz="1000" dirty="0" err="1"/>
              <a:t>Findox</a:t>
            </a:r>
            <a:r>
              <a:rPr lang="en-GB" sz="1000" dirty="0"/>
              <a:t>)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nefits of current approach: Easy to link to all other C4 data using unique Id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ortfalls of current approach: Only 145 companies (out of 600+) had pdf prospectuses on SharePoint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ternative approach to get more data: In the beginning of the project, I wrote code to web scrape Prospectuses based on ISIN (International Securities Identification Number) straight from the regulatory website. Would be possible to link to C4 universe but takes some time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After logging parsing errors, remaining fail due to mostly slightly different formatting (different markdown so that we can’t identify hierarchical structure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: add more functionality to the parser to catch different formats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es: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other LLMs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different prompting technique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using a second LLM for verification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Lookup LLM-scored companies. Choose a company, for each identified risk, take to section of actual PDF where risk is present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Upload new unseen pdf prospectus, process, parse and model for sub-score labels.</a:t>
            </a:r>
          </a:p>
        </p:txBody>
      </p:sp>
    </p:spTree>
    <p:extLst>
      <p:ext uri="{BB962C8B-B14F-4D97-AF65-F5344CB8AC3E}">
        <p14:creationId xmlns:p14="http://schemas.microsoft.com/office/powerpoint/2010/main" val="16103902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My Goal With This MSc Thesis</a:t>
            </a:r>
            <a:endParaRPr lang="en-US" sz="2400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09288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of of Concept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Give PMs and my analyst colleagues an idea of what this technology is capable of. 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</p:txBody>
      </p:sp>
    </p:spTree>
    <p:extLst>
      <p:ext uri="{BB962C8B-B14F-4D97-AF65-F5344CB8AC3E}">
        <p14:creationId xmlns:p14="http://schemas.microsoft.com/office/powerpoint/2010/main" val="2573527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LLMs Processing Bond Prospectuses (Idea)</a:t>
            </a: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Base Experiment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Base Experiment Results 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The Practical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  <a:hlinkClick r:id="rId8" action="ppaction://hlinksldjump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8" action="ppaction://hlinksldjump"/>
              </a:rPr>
              <a:t>What to Prioritize Now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EF1C0-C6F8-6E00-1CF1-F11DC581A7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92B606A0-24B8-3131-C74C-67573FB37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da-DK" dirty="0"/>
              <a:t>LLMs Processing Bond Prospectuse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5B765D-BBD6-45CF-C2A7-A85523F315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205"/>
          <a:stretch/>
        </p:blipFill>
        <p:spPr>
          <a:xfrm>
            <a:off x="1461316" y="3394393"/>
            <a:ext cx="6818967" cy="1343453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6647A66F-BF7C-B1F6-5FA1-7839DA37EE6F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C0E320-2A53-A971-41D1-E24D231F1111}"/>
              </a:ext>
            </a:extLst>
          </p:cNvPr>
          <p:cNvSpPr txBox="1"/>
          <p:nvPr/>
        </p:nvSpPr>
        <p:spPr>
          <a:xfrm>
            <a:off x="38898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612935-A4CB-3BDC-9581-D1E706A66E03}"/>
              </a:ext>
            </a:extLst>
          </p:cNvPr>
          <p:cNvSpPr txBox="1"/>
          <p:nvPr/>
        </p:nvSpPr>
        <p:spPr>
          <a:xfrm>
            <a:off x="399996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6E7E9F-9128-7B6C-B0DD-5ED8A50106CF}"/>
              </a:ext>
            </a:extLst>
          </p:cNvPr>
          <p:cNvSpPr txBox="1"/>
          <p:nvPr/>
        </p:nvSpPr>
        <p:spPr>
          <a:xfrm>
            <a:off x="396000" y="4906213"/>
            <a:ext cx="53461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</p:txBody>
      </p:sp>
    </p:spTree>
    <p:extLst>
      <p:ext uri="{BB962C8B-B14F-4D97-AF65-F5344CB8AC3E}">
        <p14:creationId xmlns:p14="http://schemas.microsoft.com/office/powerpoint/2010/main" val="320677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45C72-C8E0-3397-7A90-07A244F97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B04E2ED2-07D6-FF25-8B5E-A8781CBEFAC0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284180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Dataset</a:t>
            </a:r>
          </a:p>
          <a:p>
            <a:r>
              <a:rPr lang="en-GB" sz="1000" dirty="0"/>
              <a:t>Need prospectuses on names with C4 Fundamental Score.</a:t>
            </a:r>
          </a:p>
          <a:p>
            <a:endParaRPr lang="en-GB" sz="1000" b="1" dirty="0"/>
          </a:p>
          <a:p>
            <a:r>
              <a:rPr lang="en-GB" sz="1000" b="1" dirty="0"/>
              <a:t>SharePoint </a:t>
            </a:r>
            <a:r>
              <a:rPr lang="en-GB" sz="1000" b="1" dirty="0" err="1"/>
              <a:t>Findox</a:t>
            </a:r>
            <a:endParaRPr lang="en-GB" sz="1000" b="1" dirty="0"/>
          </a:p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their data provider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so that we have issuer unique id that we can link to all relevant data in DB (e.g. analyst score).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I now have a Dataset with ~150 names with C4 Analyst Scores.</a:t>
            </a:r>
          </a:p>
          <a:p>
            <a:pPr marL="285750" indent="-285750">
              <a:buFontTx/>
              <a:buChar char="-"/>
            </a:pPr>
            <a:endParaRPr lang="en-GB" sz="1000" dirty="0"/>
          </a:p>
          <a:p>
            <a:r>
              <a:rPr lang="en-GB" sz="1000" b="1" dirty="0" err="1"/>
              <a:t>Esma</a:t>
            </a:r>
            <a:r>
              <a:rPr lang="en-GB" sz="1000" b="1" dirty="0"/>
              <a:t> (</a:t>
            </a:r>
            <a:r>
              <a:rPr lang="en-US" sz="1000" b="1" dirty="0"/>
              <a:t>The European Securities and Markets Authority</a:t>
            </a:r>
            <a:r>
              <a:rPr lang="en-GB" sz="1000" b="1" dirty="0"/>
              <a:t>)</a:t>
            </a:r>
          </a:p>
          <a:p>
            <a:r>
              <a:rPr lang="en-GB" sz="1000" dirty="0"/>
              <a:t>Web-scraping. </a:t>
            </a:r>
          </a:p>
          <a:p>
            <a:endParaRPr lang="en-DK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834EC-F1D6-6CBF-1560-A8C7C838A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pic>
        <p:nvPicPr>
          <p:cNvPr id="6" name="Picture 5" descr="A screenshot of a calendar&#10;&#10;Description automatically generated">
            <a:extLst>
              <a:ext uri="{FF2B5EF4-FFF2-40B4-BE49-F238E27FC236}">
                <a16:creationId xmlns:a16="http://schemas.microsoft.com/office/drawing/2014/main" id="{23FB19A7-F39C-A952-6F67-38646D89A7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1958" y="4706507"/>
            <a:ext cx="6148759" cy="188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754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44094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ecall, 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traceability.</a:t>
            </a:r>
          </a:p>
          <a:p>
            <a:pPr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900" dirty="0"/>
              <a:t>I turned into:</a:t>
            </a:r>
            <a:endParaRPr lang="en-GB" sz="9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8130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on researching I chose a Prompting Strategy Based on Specific Research Paper (</a:t>
            </a: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5iv.labs.arxiv.org/html/2310.14122</a:t>
            </a:r>
            <a:r>
              <a:rPr lang="en-GB" sz="1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isting field of research on LLMs: Relevance Generation (LLM is prompted to answer whether a document is relevant to a query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paper found that instead of using LLM for binary relevance generation (“Yes” / “No” output), fine-grained relevance labels improved performance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fter seeing LLM performance when performing binary decisions on relevance, I used three level relevance generation:</a:t>
            </a: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judge whether the text is "Highly Relevant", "Somewhat Relevant", or "Not Relevant".</a:t>
            </a:r>
            <a:b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itle: 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itle'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ext: 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ext’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specific sub risks from the Risk Factors section. The {questions} is a specific sub-score label. 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3799046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764" y="3799046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9453D-0A1A-ECA1-D908-0B3ACFE1F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4D4EF-0442-C9A3-7888-D8F2C0B88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47A5BD4E-49A7-17B0-5570-9361E7B0D7A4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1880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sert </a:t>
            </a:r>
            <a:r>
              <a:rPr lang="en-GB" sz="1000" dirty="0" err="1"/>
              <a:t>DataFrame</a:t>
            </a:r>
            <a:r>
              <a:rPr lang="en-GB" sz="1000" dirty="0"/>
              <a:t> screenshot showing output format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D64862D-2D87-7607-2F72-D217ED431A3A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345359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469</TotalTime>
  <Words>1536</Words>
  <Application>Microsoft Macintosh PowerPoint</Application>
  <PresentationFormat>Custom</PresentationFormat>
  <Paragraphs>171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venir Next LT Pro</vt:lpstr>
      <vt:lpstr>Menlo</vt:lpstr>
      <vt:lpstr>Roboto Mono</vt:lpstr>
      <vt:lpstr>Arial</vt:lpstr>
      <vt:lpstr>Roboto</vt:lpstr>
      <vt:lpstr>Calibri</vt:lpstr>
      <vt:lpstr>Wingdings</vt:lpstr>
      <vt:lpstr>Office Theme</vt:lpstr>
      <vt:lpstr>think-cell Slide</vt:lpstr>
      <vt:lpstr>C4 Fundamental Score meets NLP - Intro</vt:lpstr>
      <vt:lpstr>TOC</vt:lpstr>
      <vt:lpstr>LLMs Processing Bond Prospectuses</vt:lpstr>
      <vt:lpstr>PDF Prospectuses - Scraping </vt:lpstr>
      <vt:lpstr>PDF Prospectuses - Processing </vt:lpstr>
      <vt:lpstr>LLM Modelling – Strategy</vt:lpstr>
      <vt:lpstr>LLM Modelling – Base Experiment</vt:lpstr>
      <vt:lpstr>LLM Modelling – Base Experiment Results</vt:lpstr>
      <vt:lpstr>LLM Modelling – Base Experiment Results</vt:lpstr>
      <vt:lpstr>LLM Modelling – The Practical</vt:lpstr>
      <vt:lpstr>My Next Steps</vt:lpstr>
      <vt:lpstr>My Goal With This MSc Thesis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43</cp:revision>
  <cp:lastPrinted>2020-08-17T11:08:44Z</cp:lastPrinted>
  <dcterms:created xsi:type="dcterms:W3CDTF">2012-12-10T20:52:52Z</dcterms:created>
  <dcterms:modified xsi:type="dcterms:W3CDTF">2024-11-20T21:3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